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ABF491-574D-48D1-97CA-510E14C08F3C}" v="49" dt="2023-03-14T23:27:08.13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6" d="100"/>
          <a:sy n="116" d="100"/>
        </p:scale>
        <p:origin x="120" y="444"/>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2FABF491-574D-48D1-97CA-510E14C08F3C}"/>
    <pc:docChg chg="modSld">
      <pc:chgData name="Roberto Gallardo" userId="49a044883f185952" providerId="LiveId" clId="{2FABF491-574D-48D1-97CA-510E14C08F3C}" dt="2023-03-14T23:27:39.294" v="211" actId="1076"/>
      <pc:docMkLst>
        <pc:docMk/>
      </pc:docMkLst>
      <pc:sldChg chg="addSp modSp mod">
        <pc:chgData name="Roberto Gallardo" userId="49a044883f185952" providerId="LiveId" clId="{2FABF491-574D-48D1-97CA-510E14C08F3C}" dt="2023-03-14T23:22:05.221" v="9" actId="1076"/>
        <pc:sldMkLst>
          <pc:docMk/>
          <pc:sldMk cId="1418533539" sldId="271"/>
        </pc:sldMkLst>
        <pc:picChg chg="add mod">
          <ac:chgData name="Roberto Gallardo" userId="49a044883f185952" providerId="LiveId" clId="{2FABF491-574D-48D1-97CA-510E14C08F3C}" dt="2023-03-14T23:22:05.221" v="9" actId="1076"/>
          <ac:picMkLst>
            <pc:docMk/>
            <pc:sldMk cId="1418533539" sldId="271"/>
            <ac:picMk id="6" creationId="{F13EDC0A-DC96-2E1B-AC65-6E63D077D351}"/>
          </ac:picMkLst>
        </pc:picChg>
      </pc:sldChg>
      <pc:sldChg chg="addSp modSp mod">
        <pc:chgData name="Roberto Gallardo" userId="49a044883f185952" providerId="LiveId" clId="{2FABF491-574D-48D1-97CA-510E14C08F3C}" dt="2023-03-14T23:23:55.791" v="69" actId="1076"/>
        <pc:sldMkLst>
          <pc:docMk/>
          <pc:sldMk cId="2124848710" sldId="281"/>
        </pc:sldMkLst>
        <pc:picChg chg="add mod">
          <ac:chgData name="Roberto Gallardo" userId="49a044883f185952" providerId="LiveId" clId="{2FABF491-574D-48D1-97CA-510E14C08F3C}" dt="2023-03-14T23:23:55.791" v="69" actId="1076"/>
          <ac:picMkLst>
            <pc:docMk/>
            <pc:sldMk cId="2124848710" sldId="281"/>
            <ac:picMk id="6" creationId="{9E068E15-4BA5-5260-DA19-5118AC964606}"/>
          </ac:picMkLst>
        </pc:picChg>
      </pc:sldChg>
      <pc:sldChg chg="addSp modSp mod">
        <pc:chgData name="Roberto Gallardo" userId="49a044883f185952" providerId="LiveId" clId="{2FABF491-574D-48D1-97CA-510E14C08F3C}" dt="2023-03-14T23:24:12.710" v="80" actId="1076"/>
        <pc:sldMkLst>
          <pc:docMk/>
          <pc:sldMk cId="2028175529" sldId="282"/>
        </pc:sldMkLst>
        <pc:picChg chg="add mod">
          <ac:chgData name="Roberto Gallardo" userId="49a044883f185952" providerId="LiveId" clId="{2FABF491-574D-48D1-97CA-510E14C08F3C}" dt="2023-03-14T23:24:12.710" v="80" actId="1076"/>
          <ac:picMkLst>
            <pc:docMk/>
            <pc:sldMk cId="2028175529" sldId="282"/>
            <ac:picMk id="7" creationId="{EF68062F-CE3A-A5EA-9EC6-A0A99B47446A}"/>
          </ac:picMkLst>
        </pc:picChg>
      </pc:sldChg>
      <pc:sldChg chg="addSp modSp mod">
        <pc:chgData name="Roberto Gallardo" userId="49a044883f185952" providerId="LiveId" clId="{2FABF491-574D-48D1-97CA-510E14C08F3C}" dt="2023-03-14T23:24:30.455" v="91" actId="1076"/>
        <pc:sldMkLst>
          <pc:docMk/>
          <pc:sldMk cId="1326517747" sldId="283"/>
        </pc:sldMkLst>
        <pc:picChg chg="add mod">
          <ac:chgData name="Roberto Gallardo" userId="49a044883f185952" providerId="LiveId" clId="{2FABF491-574D-48D1-97CA-510E14C08F3C}" dt="2023-03-14T23:24:30.455" v="91" actId="1076"/>
          <ac:picMkLst>
            <pc:docMk/>
            <pc:sldMk cId="1326517747" sldId="283"/>
            <ac:picMk id="7" creationId="{2F0C9D14-F19E-9AFF-D967-182154DF0F57}"/>
          </ac:picMkLst>
        </pc:picChg>
      </pc:sldChg>
      <pc:sldChg chg="addSp modSp mod">
        <pc:chgData name="Roberto Gallardo" userId="49a044883f185952" providerId="LiveId" clId="{2FABF491-574D-48D1-97CA-510E14C08F3C}" dt="2023-03-14T23:24:49.933" v="103" actId="1076"/>
        <pc:sldMkLst>
          <pc:docMk/>
          <pc:sldMk cId="783739251" sldId="284"/>
        </pc:sldMkLst>
        <pc:picChg chg="add mod">
          <ac:chgData name="Roberto Gallardo" userId="49a044883f185952" providerId="LiveId" clId="{2FABF491-574D-48D1-97CA-510E14C08F3C}" dt="2023-03-14T23:24:49.933" v="103" actId="1076"/>
          <ac:picMkLst>
            <pc:docMk/>
            <pc:sldMk cId="783739251" sldId="284"/>
            <ac:picMk id="7" creationId="{03184B6F-C7A4-3DC3-C1A5-A89F927F4607}"/>
          </ac:picMkLst>
        </pc:picChg>
      </pc:sldChg>
      <pc:sldChg chg="addSp modSp mod">
        <pc:chgData name="Roberto Gallardo" userId="49a044883f185952" providerId="LiveId" clId="{2FABF491-574D-48D1-97CA-510E14C08F3C}" dt="2023-03-14T23:25:13.406" v="115" actId="1076"/>
        <pc:sldMkLst>
          <pc:docMk/>
          <pc:sldMk cId="1676122233" sldId="285"/>
        </pc:sldMkLst>
        <pc:picChg chg="add mod">
          <ac:chgData name="Roberto Gallardo" userId="49a044883f185952" providerId="LiveId" clId="{2FABF491-574D-48D1-97CA-510E14C08F3C}" dt="2023-03-14T23:25:13.406" v="115" actId="1076"/>
          <ac:picMkLst>
            <pc:docMk/>
            <pc:sldMk cId="1676122233" sldId="285"/>
            <ac:picMk id="7" creationId="{3559A93D-2FC4-8032-6E1A-141A028755CD}"/>
          </ac:picMkLst>
        </pc:picChg>
      </pc:sldChg>
      <pc:sldChg chg="addSp modSp mod">
        <pc:chgData name="Roberto Gallardo" userId="49a044883f185952" providerId="LiveId" clId="{2FABF491-574D-48D1-97CA-510E14C08F3C}" dt="2023-03-14T23:25:31.157" v="127" actId="1076"/>
        <pc:sldMkLst>
          <pc:docMk/>
          <pc:sldMk cId="3100398757" sldId="286"/>
        </pc:sldMkLst>
        <pc:picChg chg="add mod">
          <ac:chgData name="Roberto Gallardo" userId="49a044883f185952" providerId="LiveId" clId="{2FABF491-574D-48D1-97CA-510E14C08F3C}" dt="2023-03-14T23:25:31.157" v="127" actId="1076"/>
          <ac:picMkLst>
            <pc:docMk/>
            <pc:sldMk cId="3100398757" sldId="286"/>
            <ac:picMk id="7" creationId="{C93D347A-B389-673E-69D3-1BEADF7174E4}"/>
          </ac:picMkLst>
        </pc:picChg>
      </pc:sldChg>
      <pc:sldChg chg="addSp modSp mod">
        <pc:chgData name="Roberto Gallardo" userId="49a044883f185952" providerId="LiveId" clId="{2FABF491-574D-48D1-97CA-510E14C08F3C}" dt="2023-03-14T23:25:45.609" v="136" actId="1076"/>
        <pc:sldMkLst>
          <pc:docMk/>
          <pc:sldMk cId="1546475425" sldId="287"/>
        </pc:sldMkLst>
        <pc:picChg chg="add mod">
          <ac:chgData name="Roberto Gallardo" userId="49a044883f185952" providerId="LiveId" clId="{2FABF491-574D-48D1-97CA-510E14C08F3C}" dt="2023-03-14T23:25:45.609" v="136" actId="1076"/>
          <ac:picMkLst>
            <pc:docMk/>
            <pc:sldMk cId="1546475425" sldId="287"/>
            <ac:picMk id="7" creationId="{961D2257-F5D0-E4A6-5EB8-718DD03CC479}"/>
          </ac:picMkLst>
        </pc:picChg>
      </pc:sldChg>
      <pc:sldChg chg="addSp modSp mod">
        <pc:chgData name="Roberto Gallardo" userId="49a044883f185952" providerId="LiveId" clId="{2FABF491-574D-48D1-97CA-510E14C08F3C}" dt="2023-03-14T23:26:20.393" v="160" actId="1076"/>
        <pc:sldMkLst>
          <pc:docMk/>
          <pc:sldMk cId="1380517306" sldId="288"/>
        </pc:sldMkLst>
        <pc:picChg chg="add mod">
          <ac:chgData name="Roberto Gallardo" userId="49a044883f185952" providerId="LiveId" clId="{2FABF491-574D-48D1-97CA-510E14C08F3C}" dt="2023-03-14T23:26:20.393" v="160" actId="1076"/>
          <ac:picMkLst>
            <pc:docMk/>
            <pc:sldMk cId="1380517306" sldId="288"/>
            <ac:picMk id="7" creationId="{8E865375-B548-CB45-50E0-54DDAFD6D1E2}"/>
          </ac:picMkLst>
        </pc:picChg>
      </pc:sldChg>
      <pc:sldChg chg="addSp modSp mod">
        <pc:chgData name="Roberto Gallardo" userId="49a044883f185952" providerId="LiveId" clId="{2FABF491-574D-48D1-97CA-510E14C08F3C}" dt="2023-03-14T23:26:34.786" v="170" actId="1076"/>
        <pc:sldMkLst>
          <pc:docMk/>
          <pc:sldMk cId="1388671151" sldId="289"/>
        </pc:sldMkLst>
        <pc:picChg chg="add mod">
          <ac:chgData name="Roberto Gallardo" userId="49a044883f185952" providerId="LiveId" clId="{2FABF491-574D-48D1-97CA-510E14C08F3C}" dt="2023-03-14T23:26:34.786" v="170" actId="1076"/>
          <ac:picMkLst>
            <pc:docMk/>
            <pc:sldMk cId="1388671151" sldId="289"/>
            <ac:picMk id="7" creationId="{999B4CB8-66D9-FE57-B45A-7B3F063D9B51}"/>
          </ac:picMkLst>
        </pc:picChg>
      </pc:sldChg>
      <pc:sldChg chg="addSp modSp mod">
        <pc:chgData name="Roberto Gallardo" userId="49a044883f185952" providerId="LiveId" clId="{2FABF491-574D-48D1-97CA-510E14C08F3C}" dt="2023-03-14T23:27:02.565" v="189" actId="1076"/>
        <pc:sldMkLst>
          <pc:docMk/>
          <pc:sldMk cId="2355376039" sldId="290"/>
        </pc:sldMkLst>
        <pc:picChg chg="add mod">
          <ac:chgData name="Roberto Gallardo" userId="49a044883f185952" providerId="LiveId" clId="{2FABF491-574D-48D1-97CA-510E14C08F3C}" dt="2023-03-14T23:27:02.565" v="189" actId="1076"/>
          <ac:picMkLst>
            <pc:docMk/>
            <pc:sldMk cId="2355376039" sldId="290"/>
            <ac:picMk id="8" creationId="{41D58C2C-D6F9-1808-E7B2-9D1CDE23BDFD}"/>
          </ac:picMkLst>
        </pc:picChg>
      </pc:sldChg>
      <pc:sldChg chg="addSp modSp mod">
        <pc:chgData name="Roberto Gallardo" userId="49a044883f185952" providerId="LiveId" clId="{2FABF491-574D-48D1-97CA-510E14C08F3C}" dt="2023-03-14T23:27:39.294" v="211" actId="1076"/>
        <pc:sldMkLst>
          <pc:docMk/>
          <pc:sldMk cId="3757257295" sldId="291"/>
        </pc:sldMkLst>
        <pc:picChg chg="add mod">
          <ac:chgData name="Roberto Gallardo" userId="49a044883f185952" providerId="LiveId" clId="{2FABF491-574D-48D1-97CA-510E14C08F3C}" dt="2023-03-14T23:27:39.294" v="211" actId="1076"/>
          <ac:picMkLst>
            <pc:docMk/>
            <pc:sldMk cId="3757257295" sldId="291"/>
            <ac:picMk id="8" creationId="{ED34A1AF-28BF-6539-57DB-E5961E59287D}"/>
          </ac:picMkLst>
        </pc:picChg>
      </pc:sldChg>
      <pc:sldChg chg="addSp modSp mod">
        <pc:chgData name="Roberto Gallardo" userId="49a044883f185952" providerId="LiveId" clId="{2FABF491-574D-48D1-97CA-510E14C08F3C}" dt="2023-03-14T23:26:04.474" v="150" actId="1076"/>
        <pc:sldMkLst>
          <pc:docMk/>
          <pc:sldMk cId="1259856727" sldId="292"/>
        </pc:sldMkLst>
        <pc:picChg chg="add mod">
          <ac:chgData name="Roberto Gallardo" userId="49a044883f185952" providerId="LiveId" clId="{2FABF491-574D-48D1-97CA-510E14C08F3C}" dt="2023-03-14T23:26:04.474" v="150" actId="1076"/>
          <ac:picMkLst>
            <pc:docMk/>
            <pc:sldMk cId="1259856727" sldId="292"/>
            <ac:picMk id="7" creationId="{2C286B89-5DC4-EC4C-C1EE-A0AEDCA1DE74}"/>
          </ac:picMkLst>
        </pc:picChg>
      </pc:sldChg>
      <pc:sldChg chg="addSp modSp mod">
        <pc:chgData name="Roberto Gallardo" userId="49a044883f185952" providerId="LiveId" clId="{2FABF491-574D-48D1-97CA-510E14C08F3C}" dt="2023-03-14T23:23:40.514" v="59" actId="1076"/>
        <pc:sldMkLst>
          <pc:docMk/>
          <pc:sldMk cId="3324519687" sldId="293"/>
        </pc:sldMkLst>
        <pc:picChg chg="add mod">
          <ac:chgData name="Roberto Gallardo" userId="49a044883f185952" providerId="LiveId" clId="{2FABF491-574D-48D1-97CA-510E14C08F3C}" dt="2023-03-14T23:23:40.514" v="59" actId="1076"/>
          <ac:picMkLst>
            <pc:docMk/>
            <pc:sldMk cId="3324519687" sldId="293"/>
            <ac:picMk id="7" creationId="{37D6F56E-6657-E64F-801A-BB3B60741F21}"/>
          </ac:picMkLst>
        </pc:picChg>
      </pc:sldChg>
      <pc:sldChg chg="addSp modSp mod">
        <pc:chgData name="Roberto Gallardo" userId="49a044883f185952" providerId="LiveId" clId="{2FABF491-574D-48D1-97CA-510E14C08F3C}" dt="2023-03-14T23:23:06.673" v="39" actId="1076"/>
        <pc:sldMkLst>
          <pc:docMk/>
          <pc:sldMk cId="3256182630" sldId="295"/>
        </pc:sldMkLst>
        <pc:picChg chg="add mod">
          <ac:chgData name="Roberto Gallardo" userId="49a044883f185952" providerId="LiveId" clId="{2FABF491-574D-48D1-97CA-510E14C08F3C}" dt="2023-03-14T23:23:06.673" v="39" actId="1076"/>
          <ac:picMkLst>
            <pc:docMk/>
            <pc:sldMk cId="3256182630" sldId="295"/>
            <ac:picMk id="7" creationId="{3E45AE17-8CDA-113C-A0CF-4ED3EB6602C9}"/>
          </ac:picMkLst>
        </pc:picChg>
      </pc:sldChg>
      <pc:sldChg chg="addSp modSp mod">
        <pc:chgData name="Roberto Gallardo" userId="49a044883f185952" providerId="LiveId" clId="{2FABF491-574D-48D1-97CA-510E14C08F3C}" dt="2023-03-14T23:23:22.914" v="47" actId="1076"/>
        <pc:sldMkLst>
          <pc:docMk/>
          <pc:sldMk cId="4057156843" sldId="296"/>
        </pc:sldMkLst>
        <pc:picChg chg="add mod">
          <ac:chgData name="Roberto Gallardo" userId="49a044883f185952" providerId="LiveId" clId="{2FABF491-574D-48D1-97CA-510E14C08F3C}" dt="2023-03-14T23:23:22.914" v="47" actId="1076"/>
          <ac:picMkLst>
            <pc:docMk/>
            <pc:sldMk cId="4057156843" sldId="296"/>
            <ac:picMk id="7" creationId="{925C0BDB-2544-4502-778B-33B07B464FEE}"/>
          </ac:picMkLst>
        </pc:picChg>
      </pc:sldChg>
      <pc:sldChg chg="addSp modSp mod">
        <pc:chgData name="Roberto Gallardo" userId="49a044883f185952" providerId="LiveId" clId="{2FABF491-574D-48D1-97CA-510E14C08F3C}" dt="2023-03-14T23:22:49.386" v="30" actId="1076"/>
        <pc:sldMkLst>
          <pc:docMk/>
          <pc:sldMk cId="2080110827" sldId="297"/>
        </pc:sldMkLst>
        <pc:picChg chg="add mod">
          <ac:chgData name="Roberto Gallardo" userId="49a044883f185952" providerId="LiveId" clId="{2FABF491-574D-48D1-97CA-510E14C08F3C}" dt="2023-03-14T23:22:49.386" v="30" actId="1076"/>
          <ac:picMkLst>
            <pc:docMk/>
            <pc:sldMk cId="2080110827" sldId="297"/>
            <ac:picMk id="6" creationId="{F530810B-7D05-E519-2F15-57477A659AB9}"/>
          </ac:picMkLst>
        </pc:picChg>
      </pc:sldChg>
      <pc:sldChg chg="addSp modSp mod">
        <pc:chgData name="Roberto Gallardo" userId="49a044883f185952" providerId="LiveId" clId="{2FABF491-574D-48D1-97CA-510E14C08F3C}" dt="2023-03-14T23:22:25.882" v="19" actId="1076"/>
        <pc:sldMkLst>
          <pc:docMk/>
          <pc:sldMk cId="1532666867" sldId="298"/>
        </pc:sldMkLst>
        <pc:picChg chg="add mod">
          <ac:chgData name="Roberto Gallardo" userId="49a044883f185952" providerId="LiveId" clId="{2FABF491-574D-48D1-97CA-510E14C08F3C}" dt="2023-03-14T23:22:25.882" v="19" actId="1076"/>
          <ac:picMkLst>
            <pc:docMk/>
            <pc:sldMk cId="1532666867" sldId="298"/>
            <ac:picMk id="6" creationId="{D83426E1-F53C-CF60-64DF-E6E129F9657D}"/>
          </ac:picMkLst>
        </pc:picChg>
      </pc:sldChg>
      <pc:sldChg chg="addSp modSp mod">
        <pc:chgData name="Roberto Gallardo" userId="49a044883f185952" providerId="LiveId" clId="{2FABF491-574D-48D1-97CA-510E14C08F3C}" dt="2023-03-14T23:26:48.593" v="179" actId="1076"/>
        <pc:sldMkLst>
          <pc:docMk/>
          <pc:sldMk cId="1951376777" sldId="299"/>
        </pc:sldMkLst>
        <pc:picChg chg="add mod">
          <ac:chgData name="Roberto Gallardo" userId="49a044883f185952" providerId="LiveId" clId="{2FABF491-574D-48D1-97CA-510E14C08F3C}" dt="2023-03-14T23:26:48.593" v="179" actId="1076"/>
          <ac:picMkLst>
            <pc:docMk/>
            <pc:sldMk cId="1951376777" sldId="299"/>
            <ac:picMk id="7" creationId="{5B57F6D7-A2F5-EC2C-19B2-32D7E57FCED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4/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4/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Montgomery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38C66C7-C331-5812-A7DB-BCAB0BD40478}"/>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17BDC4B1-FD92-E348-D702-A2DDBC67602B}"/>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F13EDC0A-DC96-2E1B-AC65-6E63D077D3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D83426E1-F53C-CF60-64DF-E6E129F965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1866" y="1049657"/>
            <a:ext cx="7612068" cy="5382928"/>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F530810B-7D05-E519-2F15-57477A659A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1866" y="1028700"/>
            <a:ext cx="7612068" cy="5382928"/>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1E95EBB-9F01-BFA5-904C-8DB786B20FEE}"/>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3E45AE17-8CDA-113C-A0CF-4ED3EB6602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9AFF6BFD-AA71-7EB4-F5A8-BC1DAEDC60E5}"/>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925C0BDB-2544-4502-778B-33B07B464F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6097"/>
            <a:ext cx="6400800" cy="452637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1A62B232-5A27-6561-2EA6-80DBA2CEFB7F}"/>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37D6F56E-6657-E64F-801A-BB3B60741F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03F8390-2CCB-39E3-4810-6A834020B613}"/>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9E068E15-4BA5-5260-DA19-5118AC9646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80AA854-22D4-2E7D-33C5-25FC7068E2F5}"/>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EF68062F-CE3A-A5EA-9EC6-A0A99B4744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02035"/>
            <a:ext cx="6400799" cy="4526370"/>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67DF52D-D668-2A11-04A5-C84203ACFC1C}"/>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2F0C9D14-F19E-9AFF-D967-182154DF0F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8358A54-516B-0B0F-2B6C-849497E6DE31}"/>
              </a:ext>
            </a:extLst>
          </p:cNvPr>
          <p:cNvPicPr/>
          <p:nvPr/>
        </p:nvPicPr>
        <p:blipFill>
          <a:blip r:embed="rId2"/>
          <a:stretch>
            <a:fillRect/>
          </a:stretch>
        </p:blipFill>
        <p:spPr>
          <a:xfrm>
            <a:off x="152400" y="1783079"/>
            <a:ext cx="5295900" cy="3795173"/>
          </a:xfrm>
          <a:prstGeom prst="rect">
            <a:avLst/>
          </a:prstGeom>
        </p:spPr>
      </p:pic>
      <p:pic>
        <p:nvPicPr>
          <p:cNvPr id="7" name="Picture 6" descr="Diagram, map&#10;&#10;Description automatically generated">
            <a:extLst>
              <a:ext uri="{FF2B5EF4-FFF2-40B4-BE49-F238E27FC236}">
                <a16:creationId xmlns:a16="http://schemas.microsoft.com/office/drawing/2014/main" id="{03184B6F-C7A4-3DC3-C1A5-A89F927F46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6C12996-F01F-5C70-EF7C-D4F73F1477B2}"/>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3559A93D-2FC4-8032-6E1A-141A028755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0732"/>
            <a:ext cx="6416801" cy="4537686"/>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8F305D5-31C7-EE42-8396-2A756E39B183}"/>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C93D347A-B389-673E-69D3-1BEADF7174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9043EF8-29BB-ABD0-6DCF-5359826CFEE6}"/>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961D2257-F5D0-E4A6-5EB8-718DD03CC4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0FBFD7E-B617-6DFC-54DC-AF9C90071B1D}"/>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2C286B89-5DC4-EC4C-C1EE-A0AEDCA1DE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6945" y="1419454"/>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B853260-D21C-68F9-2BDA-42CA7FC1B405}"/>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8E865375-B548-CB45-50E0-54DDAFD6D1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18931"/>
            <a:ext cx="6400801"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8B02B00-2BC4-EA83-F34C-2CE020586C58}"/>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999B4CB8-66D9-FE57-B45A-7B3F063D9B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974CA6B4-A27C-B5CE-6F1D-B7D5E5D4C73C}"/>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5B57F6D7-A2F5-EC2C-19B2-32D7E57FCE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11B1D728-72D5-B0D6-0A44-C9B2E938D65F}"/>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41D58C2C-D6F9-1808-E7B2-9D1CDE23BD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335"/>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FCB93351-95AD-CD4A-A223-0038BD70AC1F}"/>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1B24E7FC-6037-9F4A-50F6-321580D21077}"/>
              </a:ext>
            </a:extLst>
          </p:cNvPr>
          <p:cNvPicPr/>
          <p:nvPr/>
        </p:nvPicPr>
        <p:blipFill>
          <a:blip r:embed="rId2"/>
          <a:stretch>
            <a:fillRect/>
          </a:stretch>
        </p:blipFill>
        <p:spPr>
          <a:xfrm>
            <a:off x="161358" y="1777637"/>
            <a:ext cx="5299487" cy="3795849"/>
          </a:xfrm>
          <a:prstGeom prst="rect">
            <a:avLst/>
          </a:prstGeom>
        </p:spPr>
      </p:pic>
      <p:pic>
        <p:nvPicPr>
          <p:cNvPr id="8" name="Picture 7" descr="Diagram&#10;&#10;Description automatically generated">
            <a:extLst>
              <a:ext uri="{FF2B5EF4-FFF2-40B4-BE49-F238E27FC236}">
                <a16:creationId xmlns:a16="http://schemas.microsoft.com/office/drawing/2014/main" id="{ED34A1AF-28BF-6539-57DB-E5961E5928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9841" y="1412374"/>
            <a:ext cx="6400801" cy="4526373"/>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E13D73D7-618B-FFD6-15DB-FCAF9CF6E124}"/>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8F9FEB7-8F22-7E8B-07BC-E160C304BAE0}"/>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D8DC0ED-F06B-8336-0307-FB69EB00C970}"/>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7159" y="2929325"/>
            <a:ext cx="1198148" cy="2145933"/>
            <a:chOff x="10485745" y="2744378"/>
            <a:chExt cx="1198148" cy="214593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41913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4</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74437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744378"/>
              <a:ext cx="0" cy="67476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311690"/>
              <a:ext cx="0" cy="57862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125854"/>
            <a:ext cx="1198148" cy="2444917"/>
            <a:chOff x="2775759" y="2099890"/>
            <a:chExt cx="1198148" cy="244491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998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99890"/>
              <a:ext cx="0" cy="7770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70F1C649-6988-763B-A121-7B07C4B52FDF}"/>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BD46ACFA-CD9A-C5B4-668D-7B976ACBE0D4}"/>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387716D-B6F0-E6F4-63A4-41498172F441}"/>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1EC271F6-FA28-EAE6-CC51-92C854BB1C72}"/>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ABAB4A7-08C2-69DD-0293-E1081F9267E5}"/>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DCF8199-96A7-226E-BB30-7B920260FB7D}"/>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1B1F0B20-31A0-C998-5851-AC284D0CD379}"/>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8EA3EF58-D349-EFE4-D575-17C7B419213E}"/>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26</TotalTime>
  <Words>1463</Words>
  <Application>Microsoft Office PowerPoint</Application>
  <PresentationFormat>Widescreen</PresentationFormat>
  <Paragraphs>134</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62</cp:revision>
  <dcterms:created xsi:type="dcterms:W3CDTF">2022-07-04T13:32:28Z</dcterms:created>
  <dcterms:modified xsi:type="dcterms:W3CDTF">2023-03-14T23:27:43Z</dcterms:modified>
</cp:coreProperties>
</file>